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1"/>
  </p:notesMasterIdLst>
  <p:sldIdLst>
    <p:sldId id="428" r:id="rId2"/>
    <p:sldId id="478" r:id="rId3"/>
    <p:sldId id="445" r:id="rId4"/>
    <p:sldId id="479" r:id="rId5"/>
    <p:sldId id="480" r:id="rId6"/>
    <p:sldId id="481" r:id="rId7"/>
    <p:sldId id="482" r:id="rId8"/>
    <p:sldId id="483" r:id="rId9"/>
    <p:sldId id="484" r:id="rId10"/>
    <p:sldId id="485" r:id="rId11"/>
    <p:sldId id="486" r:id="rId12"/>
    <p:sldId id="487" r:id="rId13"/>
    <p:sldId id="488" r:id="rId14"/>
    <p:sldId id="489" r:id="rId15"/>
    <p:sldId id="490" r:id="rId16"/>
    <p:sldId id="491" r:id="rId17"/>
    <p:sldId id="499" r:id="rId18"/>
    <p:sldId id="500" r:id="rId19"/>
    <p:sldId id="501" r:id="rId20"/>
    <p:sldId id="492" r:id="rId21"/>
    <p:sldId id="503" r:id="rId22"/>
    <p:sldId id="504" r:id="rId23"/>
    <p:sldId id="505" r:id="rId24"/>
    <p:sldId id="493" r:id="rId25"/>
    <p:sldId id="495" r:id="rId26"/>
    <p:sldId id="496" r:id="rId27"/>
    <p:sldId id="497" r:id="rId28"/>
    <p:sldId id="498" r:id="rId29"/>
    <p:sldId id="506" r:id="rId30"/>
  </p:sldIdLst>
  <p:sldSz cx="12192000" cy="6858000"/>
  <p:notesSz cx="6858000" cy="9144000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9CE8"/>
    <a:srgbClr val="000000"/>
    <a:srgbClr val="FE5F55"/>
    <a:srgbClr val="002C6F"/>
    <a:srgbClr val="FCFCFC"/>
    <a:srgbClr val="F46036"/>
    <a:srgbClr val="ECA400"/>
    <a:srgbClr val="CCEB9D"/>
    <a:srgbClr val="A5C94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25"/>
    <p:restoredTop sz="79469"/>
  </p:normalViewPr>
  <p:slideViewPr>
    <p:cSldViewPr snapToGrid="0" snapToObjects="1">
      <p:cViewPr>
        <p:scale>
          <a:sx n="89" d="100"/>
          <a:sy n="89" d="100"/>
        </p:scale>
        <p:origin x="1896" y="2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E3AB8-876E-1542-BA35-CC1AAFD17F71}" type="datetimeFigureOut">
              <a:rPr lang="de-DE" smtClean="0"/>
              <a:t>26.07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9C1C61-5747-1145-9454-DA5BFFD99B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69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Mobile Development für Android und iOS mit Java oder SWIFT – Aber zunehmen auch Web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0983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erver liefert auf Alle Anfragen liefern nur statische Files a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7349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Skywalker persönlich begrüß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14162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/>
              <a:t>Flask erfordert MVC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 dirty="0"/>
              <a:t>Business Logik im Controller (steht in app.py – nimmt Eingaben entgegen und steuert Ausgab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 dirty="0"/>
              <a:t>View – Enthält Templates und kümmert sich um die Darstell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 dirty="0"/>
              <a:t>Model – Daten (z.B. SQLite – Haben wir bis jetzt noch nicht)</a:t>
            </a:r>
          </a:p>
          <a:p>
            <a:endParaRPr lang="en-DE" dirty="0"/>
          </a:p>
          <a:p>
            <a:r>
              <a:rPr lang="en-DE" dirty="0"/>
              <a:t>MVC als allgemeines Entwurfsmuster in der Softwareentwicklu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7563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7986D2F-0F73-764D-AE9E-FEB08E422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298D59-EF5E-274B-B6E2-B2118FDB44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447" y="1132752"/>
            <a:ext cx="5676787" cy="1452268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 pitchFamily="2" charset="-34"/>
                <a:ea typeface="Helvetica Neue Light" panose="02000403000000020004" pitchFamily="2" charset="0"/>
                <a:cs typeface="Chakra Petch SemiBold" pitchFamily="2" charset="-34"/>
              </a:defRPr>
            </a:lvl1pPr>
          </a:lstStyle>
          <a:p>
            <a:r>
              <a:rPr lang="de-DE" dirty="0"/>
              <a:t>Challenge XX:</a:t>
            </a:r>
            <a:br>
              <a:rPr lang="de-DE" dirty="0"/>
            </a:br>
            <a:r>
              <a:rPr lang="de-DE" dirty="0"/>
              <a:t>Name der Challeng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540501-6DF5-DE43-8614-C73B3291A6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4447" y="2678233"/>
            <a:ext cx="5676787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 panose="020F0302020204030203" pitchFamily="34" charset="77"/>
                <a:ea typeface="Helvetica Neue Light" panose="020004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Inhalt der Challenge &amp; Zuständige*</a:t>
            </a:r>
            <a:r>
              <a:rPr lang="de-DE" dirty="0" err="1"/>
              <a:t>r</a:t>
            </a:r>
            <a:r>
              <a:rPr lang="de-DE" dirty="0"/>
              <a:t> Professor*in 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F1E77327-8E90-2D41-BAC5-4C8A4FB7029A}"/>
              </a:ext>
            </a:extLst>
          </p:cNvPr>
          <p:cNvSpPr txBox="1">
            <a:spLocks/>
          </p:cNvSpPr>
          <p:nvPr userDrawn="1"/>
        </p:nvSpPr>
        <p:spPr>
          <a:xfrm>
            <a:off x="705010" y="6390298"/>
            <a:ext cx="5676787" cy="3178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Helvetica Neue Light" panose="02000403000000020004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/>
              <a:t>Digital Skills | Technologische Skills | Python 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840C43-1AC7-9449-981E-80B08B695DB7}"/>
              </a:ext>
            </a:extLst>
          </p:cNvPr>
          <p:cNvSpPr/>
          <p:nvPr userDrawn="1"/>
        </p:nvSpPr>
        <p:spPr>
          <a:xfrm>
            <a:off x="1" y="6441084"/>
            <a:ext cx="764446" cy="101448"/>
          </a:xfrm>
          <a:prstGeom prst="rect">
            <a:avLst/>
          </a:prstGeom>
          <a:solidFill>
            <a:schemeClr val="tx1">
              <a:alpha val="6495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469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CA37422-AA5D-FA42-8B1A-137D163D67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B0A0D2-6F5E-3E42-901B-DB7C67AB03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 pitchFamily="2" charset="2"/>
              <a:buChar char="§"/>
              <a:defRPr sz="2400" b="0" i="0">
                <a:latin typeface="Lato Light" panose="020F0302020204030203" pitchFamily="34" charset="77"/>
              </a:defRPr>
            </a:lvl1pPr>
            <a:lvl2pPr marL="685800" indent="-228600">
              <a:lnSpc>
                <a:spcPct val="100000"/>
              </a:lnSpc>
              <a:buFont typeface="Wingdings" pitchFamily="2" charset="2"/>
              <a:buChar char="§"/>
              <a:defRPr sz="2000" b="0" i="0">
                <a:latin typeface="Lato Light" panose="020F0302020204030203" pitchFamily="34" charset="77"/>
              </a:defRPr>
            </a:lvl2pPr>
            <a:lvl3pPr marL="1143000" indent="-228600">
              <a:lnSpc>
                <a:spcPct val="100000"/>
              </a:lnSpc>
              <a:buFont typeface="Wingdings" pitchFamily="2" charset="2"/>
              <a:buChar char="§"/>
              <a:defRPr sz="1800" b="0" i="0">
                <a:latin typeface="Lato Light" panose="020F0302020204030203" pitchFamily="34" charset="77"/>
              </a:defRPr>
            </a:lvl3pPr>
            <a:lvl4pPr marL="16002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4pPr>
            <a:lvl5pPr marL="20574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</a:t>
            </a:r>
            <a:r>
              <a:rPr lang="de-DE" dirty="0" err="1"/>
              <a:t>Flask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10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293967-606C-AA4E-BD0A-4862DFB60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</a:t>
            </a:r>
            <a:r>
              <a:rPr lang="de-DE" dirty="0" err="1"/>
              <a:t>Flask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94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_Ausnahmekomplet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568AB9D-1B80-3B40-AD10-C6CB2D33E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</a:t>
            </a:r>
            <a:r>
              <a:rPr lang="de-DE" dirty="0" err="1"/>
              <a:t>Flask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511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B8FA637-35BF-4145-99FC-327C63999244}"/>
              </a:ext>
            </a:extLst>
          </p:cNvPr>
          <p:cNvSpPr/>
          <p:nvPr userDrawn="1"/>
        </p:nvSpPr>
        <p:spPr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39DE08A-D285-D841-88BB-2444DFAC2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4061" y="1539582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1B315B3B-FD02-BD03-A6BB-98D375A5B6E5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</a:t>
            </a:r>
            <a:r>
              <a:rPr lang="de-DE" dirty="0" err="1"/>
              <a:t>Flas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994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16" name="Grafik 15" descr="Ein Bild, das Text, Monitor, Elektronik, Computer enthält.&#10;&#10;Automatisch generierte Beschreibung">
            <a:extLst>
              <a:ext uri="{FF2B5EF4-FFF2-40B4-BE49-F238E27FC236}">
                <a16:creationId xmlns:a16="http://schemas.microsoft.com/office/drawing/2014/main" id="{00768B70-714B-9147-9A17-4C77A5E8E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792" b="8538"/>
          <a:stretch/>
        </p:blipFill>
        <p:spPr>
          <a:xfrm>
            <a:off x="-1" y="1290253"/>
            <a:ext cx="7348451" cy="4720804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BB96174F-3BA3-03B1-B22D-1C3E0A2C87E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3811652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83EC40-B41C-474F-A539-D38B031FCA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2213" y="1015120"/>
            <a:ext cx="2646865" cy="520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32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4491" y="1524265"/>
            <a:ext cx="5664766" cy="3809469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49C87D29-312E-8B0E-227E-C282816274C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487443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81659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B45CAB5A-CBDE-AB11-8C5A-5CD0B6380F5B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51929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527C0C-4DDD-B646-9A09-76A051567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2153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6C59717-0F4E-9747-BCCB-D77ED9411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44EA24-52AA-6941-BDD8-22381B8C4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386DEF-6EBF-AA44-83B8-A33AB775A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445101-65EE-0048-9A14-29E3837D9AD2}" type="datetimeFigureOut">
              <a:rPr lang="de-DE" smtClean="0"/>
              <a:t>26.07.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BBB0A4-C7B0-3942-8CF9-2BD547FF47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633673-2F2E-424E-8CA9-EB4F2BF94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0E1B9-DFD7-0A42-890A-819B1ED8E0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70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8" r:id="rId4"/>
    <p:sldLayoutId id="2147483657" r:id="rId5"/>
    <p:sldLayoutId id="2147483659" r:id="rId6"/>
    <p:sldLayoutId id="2147483660" r:id="rId7"/>
    <p:sldLayoutId id="2147483661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929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/>
          </a:bodyPr>
          <a:lstStyle/>
          <a:p>
            <a:r>
              <a:rPr lang="de-DE" sz="4000" dirty="0"/>
              <a:t>Challenge:</a:t>
            </a:r>
            <a:br>
              <a:rPr lang="de-DE" sz="4000" dirty="0"/>
            </a:br>
            <a:r>
              <a:rPr lang="de-DE" sz="4000" dirty="0" err="1"/>
              <a:t>Flask</a:t>
            </a:r>
            <a:endParaRPr lang="de-DE" sz="400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4941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751610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</a:t>
            </a:r>
            <a:r>
              <a:rPr lang="en-DE" dirty="0">
                <a:solidFill>
                  <a:srgbClr val="3B9CE8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/rout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EC6DDFE-A175-8A9D-C5FC-479DC1D8A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3538899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751610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</a:t>
            </a:r>
            <a:r>
              <a:rPr lang="en-DE" dirty="0">
                <a:solidFill>
                  <a:srgbClr val="3B9CE8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/route?key=valu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5E89F88-FB6D-AEC0-26B8-E047DD0A3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DF4EB24-BB5D-05C2-D66C-BE4F04F132EF}"/>
              </a:ext>
            </a:extLst>
          </p:cNvPr>
          <p:cNvSpPr/>
          <p:nvPr/>
        </p:nvSpPr>
        <p:spPr>
          <a:xfrm>
            <a:off x="469962" y="4508492"/>
            <a:ext cx="578506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de-DE" sz="2000" dirty="0" err="1">
                <a:solidFill>
                  <a:prstClr val="black"/>
                </a:solidFill>
                <a:latin typeface="Lato Light" panose="020F0302020204030203" pitchFamily="34" charset="77"/>
              </a:rPr>
              <a:t>Flask</a:t>
            </a: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 kann HTTP-Anfragen wie diese verarbeiten…</a:t>
            </a:r>
          </a:p>
        </p:txBody>
      </p:sp>
    </p:spTree>
    <p:extLst>
      <p:ext uri="{BB962C8B-B14F-4D97-AF65-F5344CB8AC3E}">
        <p14:creationId xmlns:p14="http://schemas.microsoft.com/office/powerpoint/2010/main" val="7889328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751610" cy="2798834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GET /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search?q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=cats HTTP/1.1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Host: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www.google.com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...</a:t>
            </a: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endParaRPr lang="en-DE" dirty="0">
              <a:solidFill>
                <a:srgbClr val="3B9CE8"/>
              </a:solidFill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EC6751A-10B8-926F-2C95-3F12CA989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0737636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4A396-8FE8-C5D8-2616-4FEE7B6D9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Flask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751610" cy="2798834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from flask import Flask</a:t>
            </a:r>
          </a:p>
        </p:txBody>
      </p:sp>
    </p:spTree>
    <p:extLst>
      <p:ext uri="{BB962C8B-B14F-4D97-AF65-F5344CB8AC3E}">
        <p14:creationId xmlns:p14="http://schemas.microsoft.com/office/powerpoint/2010/main" val="37130064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4A396-8FE8-C5D8-2616-4FEE7B6D9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truktur einer minimalen Flask-App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186608"/>
            <a:ext cx="7751610" cy="2798834"/>
          </a:xfrm>
        </p:spPr>
        <p:txBody>
          <a:bodyPr/>
          <a:lstStyle/>
          <a:p>
            <a:pPr marL="0" indent="0">
              <a:buNone/>
            </a:pP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app.py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requirements.txt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static/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templates/</a:t>
            </a: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49212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4A396-8FE8-C5D8-2616-4FEE7B6D9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Flask – Hello world!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014332"/>
            <a:ext cx="7751610" cy="376361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from flask import Flask,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render_template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app = Flask(__name__)</a:t>
            </a: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@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app.route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("/")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def index():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    return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render_template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("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index.html</a:t>
            </a: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")</a:t>
            </a: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pic>
        <p:nvPicPr>
          <p:cNvPr id="3" name="Picture 2" descr="Replit - Wikipedia">
            <a:extLst>
              <a:ext uri="{FF2B5EF4-FFF2-40B4-BE49-F238E27FC236}">
                <a16:creationId xmlns:a16="http://schemas.microsoft.com/office/drawing/2014/main" id="{CB7DD41A-30DD-0517-3D00-477715345B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B2DE677-4745-03AC-B210-CD7F658C2C15}"/>
              </a:ext>
            </a:extLst>
          </p:cNvPr>
          <p:cNvSpPr txBox="1"/>
          <p:nvPr/>
        </p:nvSpPr>
        <p:spPr>
          <a:xfrm>
            <a:off x="10443691" y="6209234"/>
            <a:ext cx="10310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hello_flask_1</a:t>
            </a:r>
          </a:p>
        </p:txBody>
      </p:sp>
    </p:spTree>
    <p:extLst>
      <p:ext uri="{BB962C8B-B14F-4D97-AF65-F5344CB8AC3E}">
        <p14:creationId xmlns:p14="http://schemas.microsoft.com/office/powerpoint/2010/main" val="5959910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4A396-8FE8-C5D8-2616-4FEE7B6D9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014332"/>
            <a:ext cx="7751610" cy="37636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request.args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request.form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pic>
        <p:nvPicPr>
          <p:cNvPr id="3" name="Picture 2" descr="Replit - Wikipedia">
            <a:extLst>
              <a:ext uri="{FF2B5EF4-FFF2-40B4-BE49-F238E27FC236}">
                <a16:creationId xmlns:a16="http://schemas.microsoft.com/office/drawing/2014/main" id="{50CB98C3-96AE-6F0E-DB24-FAA2F4255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CC1EAE0-C68A-7FFE-4EA2-64556D116AB4}"/>
              </a:ext>
            </a:extLst>
          </p:cNvPr>
          <p:cNvSpPr txBox="1"/>
          <p:nvPr/>
        </p:nvSpPr>
        <p:spPr>
          <a:xfrm>
            <a:off x="10454539" y="6209234"/>
            <a:ext cx="10310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hello_flask_2</a:t>
            </a:r>
          </a:p>
          <a:p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9353415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C7B98E-A9C8-82D9-4A11-401079C60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elbst Eingaben erstellen: Formular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453EA9F-7C2D-F795-3A9E-73D45345FE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105890"/>
            <a:ext cx="11329695" cy="335663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form action="/greet" method="get"&gt;</a:t>
            </a:r>
          </a:p>
          <a:p>
            <a:pPr marL="190500" indent="-190500">
              <a:buNone/>
            </a:pPr>
            <a:r>
              <a:rPr lang="en-GB" sz="1600" dirty="0">
                <a:latin typeface="Source Code Pro" panose="020B0309030403020204" pitchFamily="49" charset="0"/>
                <a:ea typeface="Source Code Pro" panose="020B0309030403020204" pitchFamily="49" charset="0"/>
              </a:rPr>
              <a:t>	&lt;input autocomplete="off" autofocus name="name" placeholder="Name" type="text"&gt;</a:t>
            </a:r>
          </a:p>
          <a:p>
            <a:pPr marL="190500" indent="-190500">
              <a:buNone/>
            </a:pPr>
            <a:r>
              <a:rPr lang="en-GB" sz="1600" dirty="0">
                <a:latin typeface="Source Code Pro" panose="020B0309030403020204" pitchFamily="49" charset="0"/>
                <a:ea typeface="Source Code Pro" panose="020B0309030403020204" pitchFamily="49" charset="0"/>
              </a:rPr>
              <a:t>	&lt;input type="submit" value="Send"&gt;</a:t>
            </a:r>
          </a:p>
          <a:p>
            <a:pPr marL="0" indent="0">
              <a:buNone/>
            </a:pPr>
            <a:r>
              <a:rPr lang="en-GB" sz="1600" dirty="0">
                <a:latin typeface="Source Code Pro" panose="020B0309030403020204" pitchFamily="49" charset="0"/>
                <a:ea typeface="Source Code Pro" panose="020B0309030403020204" pitchFamily="49" charset="0"/>
              </a:rPr>
              <a:t>&lt;/form&gt;</a:t>
            </a: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57DA108D-419A-2A86-D673-632325E610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CF92A86-AFE3-FA53-853B-AAFCE2F62076}"/>
              </a:ext>
            </a:extLst>
          </p:cNvPr>
          <p:cNvSpPr txBox="1"/>
          <p:nvPr/>
        </p:nvSpPr>
        <p:spPr>
          <a:xfrm>
            <a:off x="10468395" y="6209234"/>
            <a:ext cx="10310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hello_flask_3</a:t>
            </a:r>
          </a:p>
          <a:p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3265048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AB023B-30B6-B0AA-66C9-83CBAF9F0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Layout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DC119E8-C8A4-C2AE-603F-F275865DA4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68556"/>
            <a:ext cx="5578252" cy="3593965"/>
          </a:xfrm>
        </p:spPr>
        <p:txBody>
          <a:bodyPr/>
          <a:lstStyle/>
          <a:p>
            <a:r>
              <a:rPr lang="en-DE" dirty="0"/>
              <a:t>Doppelter Code in den Templates</a:t>
            </a:r>
          </a:p>
          <a:p>
            <a:r>
              <a:rPr lang="en-DE" dirty="0"/>
              <a:t>Mit Flask Templates lassen sich Codebestandteile auslagern und in mehreren Dateien einbinden</a:t>
            </a: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2787B82F-E2C6-AFC3-6182-FF351A753D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3480EBF-636C-9734-6A3C-08E61E6FB21D}"/>
              </a:ext>
            </a:extLst>
          </p:cNvPr>
          <p:cNvSpPr txBox="1"/>
          <p:nvPr/>
        </p:nvSpPr>
        <p:spPr>
          <a:xfrm>
            <a:off x="10468395" y="6209234"/>
            <a:ext cx="10310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hello_flask_4</a:t>
            </a:r>
          </a:p>
          <a:p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693013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A63FD9-42C3-C9CE-2BDF-0F252A470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PO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F772DA-BCE6-565E-F130-44E9F29382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GET übermittelt Daten als Teil der URL (unsicher)</a:t>
            </a:r>
          </a:p>
          <a:p>
            <a:r>
              <a:rPr lang="en-DE" dirty="0"/>
              <a:t>Formulare lassen sich auf POST umstellen – Daten werden als Inhalt des Requests geschick und können somit verschlüsselt werden (sicher)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F2027BB0-AC1F-0308-86C0-BA3595B876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8084EEE-3884-8DE5-4557-9249ABA1E200}"/>
              </a:ext>
            </a:extLst>
          </p:cNvPr>
          <p:cNvSpPr txBox="1"/>
          <p:nvPr/>
        </p:nvSpPr>
        <p:spPr>
          <a:xfrm>
            <a:off x="10468395" y="6209234"/>
            <a:ext cx="10310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hello_flask_5</a:t>
            </a:r>
          </a:p>
          <a:p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4735455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1DFC3F-A26C-4741-53DE-B1EF36438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eb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112F35-5C49-350D-C70B-6EF3A5DCCA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68556"/>
            <a:ext cx="5578252" cy="3593965"/>
          </a:xfrm>
        </p:spPr>
        <p:txBody>
          <a:bodyPr/>
          <a:lstStyle/>
          <a:p>
            <a:r>
              <a:rPr lang="en-DE" dirty="0"/>
              <a:t>HTML, CSS und JavaScript zunehmend verwendet, um Anwendungen für Desktops, Laptops und mobile Geräte zu entwickeln</a:t>
            </a:r>
          </a:p>
        </p:txBody>
      </p:sp>
    </p:spTree>
    <p:extLst>
      <p:ext uri="{BB962C8B-B14F-4D97-AF65-F5344CB8AC3E}">
        <p14:creationId xmlns:p14="http://schemas.microsoft.com/office/powerpoint/2010/main" val="9690360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1415D18-6321-9CFD-1169-663F3EFE42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748" y="802018"/>
            <a:ext cx="4450113" cy="496966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F372930-6FCD-10CA-BD5A-8AD67DFE8FE3}"/>
              </a:ext>
            </a:extLst>
          </p:cNvPr>
          <p:cNvSpPr txBox="1"/>
          <p:nvPr/>
        </p:nvSpPr>
        <p:spPr>
          <a:xfrm>
            <a:off x="517748" y="6188765"/>
            <a:ext cx="52116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: 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ttps://en.wikipedia.org/wiki/Model%E2%80%93view%E2%80%93controller </a:t>
            </a:r>
            <a:endParaRPr lang="en-DE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69870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A63FD9-42C3-C9CE-2BDF-0F252A470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OTH-S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F772DA-BCE6-565E-F130-44E9F29382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Studierende können sich für Sportaktivitäten registrieren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6F82DEBC-D193-7A26-C970-2E80F08C4E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65F9B4B-5BDC-59D0-E29B-CEA78561668E}"/>
              </a:ext>
            </a:extLst>
          </p:cNvPr>
          <p:cNvSpPr txBox="1"/>
          <p:nvPr/>
        </p:nvSpPr>
        <p:spPr>
          <a:xfrm>
            <a:off x="9421094" y="6209234"/>
            <a:ext cx="20537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oth_sport_1 bis oth_sport_5 </a:t>
            </a:r>
          </a:p>
          <a:p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062104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2A3444-66BA-97D9-7CEE-3D72B2071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Daten speicher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98227-16C5-3298-6CA4-4BA01B0FEF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Web-Applikationen speichern Daten typischerweise in Datenbanken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ECBEB9D6-380D-7B85-DFFD-D0C18378AC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390D30E-3D04-1864-E0AC-F6BAF8D9D729}"/>
              </a:ext>
            </a:extLst>
          </p:cNvPr>
          <p:cNvSpPr txBox="1"/>
          <p:nvPr/>
        </p:nvSpPr>
        <p:spPr>
          <a:xfrm>
            <a:off x="9628915" y="6209234"/>
            <a:ext cx="18459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oth_sport_6, oth_sport_7 </a:t>
            </a:r>
          </a:p>
          <a:p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590082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BBE2A9-7F72-5DBE-2E4E-E5629DB63C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E-Mails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ECD3DB03-F160-57F7-FC07-3F7FE22025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E8830D7-2E4D-284B-A8D8-E6119B312796}"/>
              </a:ext>
            </a:extLst>
          </p:cNvPr>
          <p:cNvSpPr txBox="1"/>
          <p:nvPr/>
        </p:nvSpPr>
        <p:spPr>
          <a:xfrm>
            <a:off x="10432485" y="6209234"/>
            <a:ext cx="10423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oth_sport_8 </a:t>
            </a:r>
          </a:p>
          <a:p>
            <a:endParaRPr lang="de-DE" sz="1200" dirty="0">
              <a:latin typeface="Lato Light" panose="020F0302020204030203" pitchFamily="34" charset="77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367644A-B63A-A970-DFF3-F92708A1BFFB}"/>
              </a:ext>
            </a:extLst>
          </p:cNvPr>
          <p:cNvSpPr txBox="1">
            <a:spLocks/>
          </p:cNvSpPr>
          <p:nvPr/>
        </p:nvSpPr>
        <p:spPr>
          <a:xfrm>
            <a:off x="517747" y="2014332"/>
            <a:ext cx="7751610" cy="37636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itchFamily="2" charset="2"/>
              <a:buChar char="§"/>
              <a:defRPr sz="24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8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flask_mail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42757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F23E76-F629-410B-FC8F-4C9140EFB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ess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DD48CC0-2434-7D97-3A91-380BEA895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014332"/>
            <a:ext cx="7751610" cy="37636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GET / HTTP/1.1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Host: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gmail.com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29693622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F23E76-F629-410B-FC8F-4C9140EFB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ess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DD48CC0-2434-7D97-3A91-380BEA895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014332"/>
            <a:ext cx="7751610" cy="37636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/1.1 200 OK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Content-Type: text/html</a:t>
            </a:r>
          </a:p>
          <a:p>
            <a:pPr marL="0" indent="0">
              <a:buNone/>
            </a:pP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9505812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F23E76-F629-410B-FC8F-4C9140EFB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ess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DD48CC0-2434-7D97-3A91-380BEA895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014332"/>
            <a:ext cx="7751610" cy="37636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/1.1 200 OK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Content-Type: text/html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Set-Cookie: session=value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...</a:t>
            </a: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32877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F23E76-F629-410B-FC8F-4C9140EFB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ess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DD48CC0-2434-7D97-3A91-380BEA895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014332"/>
            <a:ext cx="7751610" cy="37636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GET / HTTP/1.1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Host: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gmail.com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...</a:t>
            </a: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52030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F23E76-F629-410B-FC8F-4C9140EFB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ess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DD48CC0-2434-7D97-3A91-380BEA895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014332"/>
            <a:ext cx="7751610" cy="37636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GET / HTTP/1.1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Host: </a:t>
            </a:r>
            <a:r>
              <a:rPr lang="en-GB" dirty="0" err="1">
                <a:latin typeface="Source Code Pro" panose="020B0309030403020204" pitchFamily="49" charset="0"/>
                <a:ea typeface="Source Code Pro" panose="020B0309030403020204" pitchFamily="49" charset="0"/>
              </a:rPr>
              <a:t>gmail.com</a:t>
            </a: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Cookie: session=value</a:t>
            </a:r>
          </a:p>
          <a:p>
            <a:pPr marL="0" indent="0">
              <a:buNone/>
            </a:pPr>
            <a: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  <a:t>...</a:t>
            </a:r>
          </a:p>
          <a:p>
            <a:pPr marL="0" indent="0">
              <a:buNone/>
            </a:pPr>
            <a:br>
              <a:rPr lang="en-GB" dirty="0">
                <a:latin typeface="Source Code Pro" panose="020B0309030403020204" pitchFamily="49" charset="0"/>
                <a:ea typeface="Source Code Pro" panose="020B0309030403020204" pitchFamily="49" charset="0"/>
              </a:rPr>
            </a:br>
            <a:endParaRPr lang="en-GB" dirty="0">
              <a:latin typeface="Source Code Pro" panose="020B0309030403020204" pitchFamily="49" charset="0"/>
              <a:ea typeface="Source Code Pro" panose="020B0309030403020204" pitchFamily="49" charset="0"/>
            </a:endParaRPr>
          </a:p>
        </p:txBody>
      </p:sp>
      <p:pic>
        <p:nvPicPr>
          <p:cNvPr id="3" name="Picture 2" descr="Replit - Wikipedia">
            <a:extLst>
              <a:ext uri="{FF2B5EF4-FFF2-40B4-BE49-F238E27FC236}">
                <a16:creationId xmlns:a16="http://schemas.microsoft.com/office/drawing/2014/main" id="{73F8EAFE-3516-7FB2-CF82-58795EDAB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A135D8D-3632-A257-6A81-96262B89CE9A}"/>
              </a:ext>
            </a:extLst>
          </p:cNvPr>
          <p:cNvSpPr txBox="1"/>
          <p:nvPr/>
        </p:nvSpPr>
        <p:spPr>
          <a:xfrm>
            <a:off x="10917397" y="6209234"/>
            <a:ext cx="5574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latin typeface="Lato Light" panose="020F0302020204030203" pitchFamily="34" charset="77"/>
              </a:rPr>
              <a:t>login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2428436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F23E76-F629-410B-FC8F-4C9140EFB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hopping</a:t>
            </a:r>
          </a:p>
        </p:txBody>
      </p:sp>
      <p:pic>
        <p:nvPicPr>
          <p:cNvPr id="3" name="Picture 2" descr="Replit - Wikipedia">
            <a:extLst>
              <a:ext uri="{FF2B5EF4-FFF2-40B4-BE49-F238E27FC236}">
                <a16:creationId xmlns:a16="http://schemas.microsoft.com/office/drawing/2014/main" id="{73F8EAFE-3516-7FB2-CF82-58795EDAB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A135D8D-3632-A257-6A81-96262B89CE9A}"/>
              </a:ext>
            </a:extLst>
          </p:cNvPr>
          <p:cNvSpPr txBox="1"/>
          <p:nvPr/>
        </p:nvSpPr>
        <p:spPr>
          <a:xfrm>
            <a:off x="10444163" y="6209234"/>
            <a:ext cx="10306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latin typeface="Lato Light" panose="020F0302020204030203" pitchFamily="34" charset="77"/>
              </a:rPr>
              <a:t>onlineshop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40ED55C-D209-FFE9-11E8-4F18AAB384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Einkaufswagen für einen Online-Shop für Bücher</a:t>
            </a:r>
          </a:p>
        </p:txBody>
      </p:sp>
    </p:spTree>
    <p:extLst>
      <p:ext uri="{BB962C8B-B14F-4D97-AF65-F5344CB8AC3E}">
        <p14:creationId xmlns:p14="http://schemas.microsoft.com/office/powerpoint/2010/main" val="2696159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1D33BE2D-FC00-84AE-C5F1-9EEBFF906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3"/>
            <a:ext cx="10515600" cy="410730"/>
          </a:xfrm>
        </p:spPr>
        <p:txBody>
          <a:bodyPr anchor="t"/>
          <a:lstStyle/>
          <a:p>
            <a:r>
              <a:rPr lang="de-DE" dirty="0"/>
              <a:t>Webserver bis jetzt</a:t>
            </a:r>
          </a:p>
        </p:txBody>
      </p:sp>
      <p:pic>
        <p:nvPicPr>
          <p:cNvPr id="12" name="Picture 4" descr="Replit - Wikipedia">
            <a:extLst>
              <a:ext uri="{FF2B5EF4-FFF2-40B4-BE49-F238E27FC236}">
                <a16:creationId xmlns:a16="http://schemas.microsoft.com/office/drawing/2014/main" id="{660E76F8-231D-D291-E517-D689B86D0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AFCF934-50BF-B41E-0CE0-46EBA98291F6}"/>
              </a:ext>
            </a:extLst>
          </p:cNvPr>
          <p:cNvSpPr txBox="1"/>
          <p:nvPr/>
        </p:nvSpPr>
        <p:spPr>
          <a:xfrm>
            <a:off x="9217935" y="6209234"/>
            <a:ext cx="23455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calculator1.py, </a:t>
            </a:r>
            <a:r>
              <a:rPr lang="de-DE" sz="1200" dirty="0" err="1">
                <a:latin typeface="Lato Light" panose="020F0302020204030203" pitchFamily="34" charset="77"/>
              </a:rPr>
              <a:t>positive.py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9A8BA2A-AEEB-ECBD-9A19-F9C209B6ABE5}"/>
              </a:ext>
            </a:extLst>
          </p:cNvPr>
          <p:cNvSpPr/>
          <p:nvPr/>
        </p:nvSpPr>
        <p:spPr>
          <a:xfrm>
            <a:off x="517748" y="2706197"/>
            <a:ext cx="53055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de-DE" sz="2000" dirty="0" err="1">
                <a:solidFill>
                  <a:prstClr val="black"/>
                </a:solidFill>
                <a:latin typeface="Lato Light" panose="020F0302020204030203" pitchFamily="34" charset="77"/>
              </a:rPr>
              <a:t>Replit</a:t>
            </a: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 als statischer Webserver…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DFEE96-F0BF-B6CD-488F-C7B76C55CA48}"/>
              </a:ext>
            </a:extLst>
          </p:cNvPr>
          <p:cNvSpPr/>
          <p:nvPr/>
        </p:nvSpPr>
        <p:spPr>
          <a:xfrm>
            <a:off x="517748" y="3551639"/>
            <a:ext cx="530558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… kann keine Formulardaten verarbeiten und somit nicht dynamisch auf Eingaben reagieren…</a:t>
            </a:r>
          </a:p>
        </p:txBody>
      </p:sp>
    </p:spTree>
    <p:extLst>
      <p:ext uri="{BB962C8B-B14F-4D97-AF65-F5344CB8AC3E}">
        <p14:creationId xmlns:p14="http://schemas.microsoft.com/office/powerpoint/2010/main" val="23257574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89FECD-E5C7-F23E-C5EA-F8CFC63DF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Heu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D5ABDC-9AC2-FC97-B595-167D4A8E05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495497"/>
            <a:ext cx="5578252" cy="4351338"/>
          </a:xfrm>
        </p:spPr>
        <p:txBody>
          <a:bodyPr/>
          <a:lstStyle/>
          <a:p>
            <a:r>
              <a:rPr lang="en-DE" dirty="0"/>
              <a:t>SQL</a:t>
            </a:r>
          </a:p>
          <a:p>
            <a:r>
              <a:rPr lang="en-DE" dirty="0"/>
              <a:t>Python</a:t>
            </a:r>
          </a:p>
          <a:p>
            <a:r>
              <a:rPr lang="en-DE" dirty="0"/>
              <a:t>Flask</a:t>
            </a:r>
          </a:p>
          <a:p>
            <a:endParaRPr lang="en-DE" dirty="0"/>
          </a:p>
          <a:p>
            <a:pPr marL="0" indent="0">
              <a:buNone/>
            </a:pPr>
            <a:r>
              <a:rPr lang="en-DE" dirty="0"/>
              <a:t>… Framework zur Entwicklung von Webanwendungen</a:t>
            </a:r>
          </a:p>
        </p:txBody>
      </p:sp>
    </p:spTree>
    <p:extLst>
      <p:ext uri="{BB962C8B-B14F-4D97-AF65-F5344CB8AC3E}">
        <p14:creationId xmlns:p14="http://schemas.microsoft.com/office/powerpoint/2010/main" val="26055912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63687"/>
            <a:ext cx="5578252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</a:t>
            </a:r>
            <a:r>
              <a:rPr lang="en-DE" dirty="0">
                <a:solidFill>
                  <a:srgbClr val="3B9CE8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/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2903D38-3BC6-0DCC-2131-81BA8CD86E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1474966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009487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</a:t>
            </a:r>
            <a:r>
              <a:rPr lang="en-DE" dirty="0">
                <a:solidFill>
                  <a:srgbClr val="3B9CE8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/file.htm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A397FCF-5A65-6B93-DBC1-6324F388E4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907346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009487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</a:t>
            </a:r>
            <a:r>
              <a:rPr lang="en-DE" dirty="0">
                <a:solidFill>
                  <a:srgbClr val="3B9CE8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/f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304A28D-200B-098C-5E77-EA769626AD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1396732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751610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</a:t>
            </a:r>
            <a:r>
              <a:rPr lang="en-DE" dirty="0">
                <a:solidFill>
                  <a:srgbClr val="3B9CE8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/folder/file.htm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2DD0255-4A6E-D9A8-5771-BBC6FD057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73356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7960B88-02D0-C52B-5908-327074F86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2663687"/>
            <a:ext cx="7751610" cy="2798834"/>
          </a:xfrm>
        </p:spPr>
        <p:txBody>
          <a:bodyPr/>
          <a:lstStyle/>
          <a:p>
            <a:pPr marL="0" indent="0">
              <a:buNone/>
            </a:pPr>
            <a:r>
              <a:rPr lang="en-DE" dirty="0">
                <a:latin typeface="Source Code Pro" panose="020B0309030403020204" pitchFamily="49" charset="0"/>
                <a:ea typeface="Source Code Pro" panose="020B0309030403020204" pitchFamily="49" charset="0"/>
              </a:rPr>
              <a:t>http://www.example.com</a:t>
            </a:r>
            <a:r>
              <a:rPr lang="en-DE" dirty="0">
                <a:solidFill>
                  <a:srgbClr val="3B9CE8"/>
                </a:solidFill>
                <a:latin typeface="Source Code Pro" panose="020B0309030403020204" pitchFamily="49" charset="0"/>
                <a:ea typeface="Source Code Pro" panose="020B0309030403020204" pitchFamily="49" charset="0"/>
              </a:rPr>
              <a:t>/path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9D75848-A959-BC12-2F7B-5E4B0F2C8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5609699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65</TotalTime>
  <Words>595</Words>
  <Application>Microsoft Macintosh PowerPoint</Application>
  <PresentationFormat>Widescreen</PresentationFormat>
  <Paragraphs>114</Paragraphs>
  <Slides>2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9" baseType="lpstr">
      <vt:lpstr>Arial</vt:lpstr>
      <vt:lpstr>Calibri</vt:lpstr>
      <vt:lpstr>Chakra Petch SemiBold</vt:lpstr>
      <vt:lpstr>Lato</vt:lpstr>
      <vt:lpstr>Lato Light</vt:lpstr>
      <vt:lpstr>Source Code Pro</vt:lpstr>
      <vt:lpstr>Trebuchet MS</vt:lpstr>
      <vt:lpstr>Wingdings</vt:lpstr>
      <vt:lpstr>Office</vt:lpstr>
      <vt:lpstr>think-cell Slide</vt:lpstr>
      <vt:lpstr>Challenge: Flask</vt:lpstr>
      <vt:lpstr>Web</vt:lpstr>
      <vt:lpstr>Webserver bis jetzt</vt:lpstr>
      <vt:lpstr>Heu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lask</vt:lpstr>
      <vt:lpstr>Struktur einer minimalen Flask-App</vt:lpstr>
      <vt:lpstr>Flask – Hello world!</vt:lpstr>
      <vt:lpstr>PowerPoint Presentation</vt:lpstr>
      <vt:lpstr>Selbst Eingaben erstellen: Formulare</vt:lpstr>
      <vt:lpstr>Layouts</vt:lpstr>
      <vt:lpstr>POST</vt:lpstr>
      <vt:lpstr>PowerPoint Presentation</vt:lpstr>
      <vt:lpstr>OTH-Sport</vt:lpstr>
      <vt:lpstr>Daten speichern</vt:lpstr>
      <vt:lpstr>E-Mails</vt:lpstr>
      <vt:lpstr>Sessions</vt:lpstr>
      <vt:lpstr>Sessions</vt:lpstr>
      <vt:lpstr>Sessions</vt:lpstr>
      <vt:lpstr>Sessions</vt:lpstr>
      <vt:lpstr>Sessions</vt:lpstr>
      <vt:lpstr>Shopping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78</cp:revision>
  <dcterms:created xsi:type="dcterms:W3CDTF">2022-02-03T14:23:38Z</dcterms:created>
  <dcterms:modified xsi:type="dcterms:W3CDTF">2022-07-26T13:55:33Z</dcterms:modified>
  <cp:category/>
</cp:coreProperties>
</file>